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5" r:id="rId2"/>
  </p:sldMasterIdLst>
  <p:notesMasterIdLst>
    <p:notesMasterId r:id="rId18"/>
  </p:notesMasterIdLst>
  <p:sldIdLst>
    <p:sldId id="267" r:id="rId3"/>
    <p:sldId id="268" r:id="rId4"/>
    <p:sldId id="269" r:id="rId5"/>
    <p:sldId id="276" r:id="rId6"/>
    <p:sldId id="277" r:id="rId7"/>
    <p:sldId id="278" r:id="rId8"/>
    <p:sldId id="279" r:id="rId9"/>
    <p:sldId id="280" r:id="rId10"/>
    <p:sldId id="281" r:id="rId11"/>
    <p:sldId id="282" r:id="rId12"/>
    <p:sldId id="283" r:id="rId13"/>
    <p:sldId id="270" r:id="rId14"/>
    <p:sldId id="271" r:id="rId15"/>
    <p:sldId id="272" r:id="rId16"/>
    <p:sldId id="273" r:id="rId17"/>
  </p:sldIdLst>
  <p:sldSz cx="12192000" cy="6858000"/>
  <p:notesSz cx="6858000" cy="9144000"/>
  <p:defaultTextStyle>
    <a:defPPr>
      <a:defRPr lang="en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 Slide" id="{C41E965D-1BB0-6E42-80C1-B0CE61D34D0F}">
          <p14:sldIdLst>
            <p14:sldId id="267"/>
          </p14:sldIdLst>
        </p14:section>
        <p14:section name="Echipă" id="{34C61D3D-3DDA-8544-919D-38908B71CF6E}">
          <p14:sldIdLst>
            <p14:sldId id="268"/>
            <p14:sldId id="269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</p14:sldIdLst>
        </p14:section>
        <p14:section name="Proiect" id="{DBB0F080-D76F-2449-A8A8-97428CE5CDE4}">
          <p14:sldIdLst>
            <p14:sldId id="270"/>
            <p14:sldId id="271"/>
          </p14:sldIdLst>
        </p14:section>
        <p14:section name="Application-Specific IS" id="{D01103C6-D9B4-874A-903D-1D54C47D2E73}">
          <p14:sldIdLst>
            <p14:sldId id="272"/>
            <p14:sldId id="2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231D"/>
    <a:srgbClr val="101519"/>
    <a:srgbClr val="273E32"/>
    <a:srgbClr val="0D141A"/>
    <a:srgbClr val="0F141A"/>
    <a:srgbClr val="1019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08"/>
    <p:restoredTop sz="96928"/>
  </p:normalViewPr>
  <p:slideViewPr>
    <p:cSldViewPr snapToGrid="0" snapToObjects="1">
      <p:cViewPr varScale="1">
        <p:scale>
          <a:sx n="52" d="100"/>
          <a:sy n="52" d="100"/>
        </p:scale>
        <p:origin x="965" y="4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AF6D82-066C-FA4D-8270-4E3B76B0A85B}" type="datetimeFigureOut">
              <a:t>05.11.2022</a:t>
            </a:fld>
            <a:endParaRPr lang="en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E92847-51ED-1449-A9AF-8F855167E8E6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813509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AXu2aZ3YgP8</a:t>
            </a:r>
            <a:endParaRPr lang="en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E92847-51ED-1449-A9AF-8F855167E8E6}" type="slidenum">
              <a:t>1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470964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unsplash.com/photos/fItRJ7AHak8</a:t>
            </a:r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E92847-51ED-1449-A9AF-8F855167E8E6}" type="slidenum">
              <a:t>3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277903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unsplash.com/photos/fItRJ7AHak8</a:t>
            </a:r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E92847-51ED-1449-A9AF-8F855167E8E6}" type="slidenum">
              <a:t>4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7269374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unsplash.com/photos/48nerZQCHgo</a:t>
            </a:r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E92847-51ED-1449-A9AF-8F855167E8E6}" type="slidenum">
              <a:rPr lang="en-LT"/>
              <a:t>13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5107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unsplash.com/photos/TvN54bnuQg8</a:t>
            </a:r>
            <a:endParaRPr lang="en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E92847-51ED-1449-A9AF-8F855167E8E6}" type="slidenum">
              <a:rPr lang="en-LT"/>
              <a:t>15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769308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BE682-BC13-E443-B955-4FA79FB3F1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43E81D-F660-B04A-A02A-7771D9835F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L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0CAD2-F4B0-6D4F-A3DB-59C0869B6D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559959-8F63-1C46-9846-971A9FA82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FAE86-30FA-9842-986E-368BD12DB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810520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1BE3B-CFC3-5A4C-B7F9-83501BEB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6FE2E7-8408-F64E-AC06-6E9B1F7B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B17EA7-EDC0-674E-87AF-81F0CC4A4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A66A1F-640A-DD4A-8A62-FC15E9D3F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ED5553-91F0-6547-ABB8-D9C439CB0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3086999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1D21FB-DAFB-DF4B-B7CA-DF378245F1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C020F6-65AA-B149-8A98-D754BD2D85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9CA0BA-7E42-374F-BCF5-EDBE9B1CA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F8169A-AD4F-B54D-BD6E-4A85F6C02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67CF1D-B5A0-C945-8BEF-46A5BA840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040774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BF467-98F8-1240-ACB7-FB89C8182B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DF9D25-2E40-A546-8E08-F406112B18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978E3D-659B-5845-B58C-F7CE0FEDA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F348E1-52F7-3740-BECC-A872BC952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63AFA0-CF5D-CB4F-86DA-A26B2DDDD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544614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FBE51-5261-8649-BBAC-76D794105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5328B6-1619-BD43-AFD5-7594537CB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3C310A-FBFE-6A4B-94FD-CD0539AA4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09B160-B8F3-9845-896E-719CFEDB9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CFF698-F77F-6B4B-84A3-6571531AC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968971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ED5FF-D86B-9747-848F-2C768AE53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8C517-D3BF-1840-B5E3-D495BF943C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F0A760-A9DA-0E47-8642-F4561309D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D07266-6075-214C-9A0F-1B14A182D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6FDC8C-B2B0-4245-A63C-2FB5D90D3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EF4FA8-9897-264C-B54C-3F8F18770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703225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2B15F-C6FA-D84D-AB7C-2B5E418D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0F8AC2-AA47-514A-8FDD-22D9C7EA77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2D7083-810C-DE49-887E-B07C6D7484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78EA05-E088-664F-95B0-F7ACC95192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3E967E-B198-B644-85C4-9E2D8C07E3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430866-AC10-394E-BF2C-D6905A00C0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4192B9-1A8F-5643-8EDB-7F6741B9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7EE84F-1143-8540-BC3E-2E7FBEDE2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578886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BE082-AEA3-514F-B09D-1F6E78F66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91E451-9867-6C42-8057-6E95D2F36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A23332-F96E-2A45-BF20-B5E13FB94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08CDD1-FCB4-B145-AA09-3E794E237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60950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BC489A-8D6C-DC47-B468-186F9A4696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229109-1C34-5244-ADE5-222459E6E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09E646-008A-3748-BCE2-BCCC6ED32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1459180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4E5A1-F2E4-4441-8387-1A6E6B207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DA04F-4005-F044-8FE5-2EC8060FA3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CDADC-814E-244E-B9E5-2C9051426D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33663C-1FF4-3D4E-854F-A5AA4B8A5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040EC2-135F-FE46-92F3-F3CD1E63A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4625FC-8AEA-F74B-9DD8-E453DBA5F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844066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E0717-7D74-B44F-9E66-235930CCA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290095B-B62E-3C44-845A-8D31260A60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L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AA383A-A1BD-3449-AEF4-F5EB7E8FAA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2DE627-2BED-3549-9D80-6D0263AB6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475BC9-5EA8-9D48-A131-684734B30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7BAA5F-2F19-D749-8E4B-44ABBE824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882049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AAB91E-8D3B-5049-91E0-681A6BD55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L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C0D1AD-7B0F-C243-8060-E31261F402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L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B009B1-730F-3948-AFDB-A7D2295142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621EB-52E9-864A-B0F6-E4DE6976EFAF}" type="datetimeFigureOut">
              <a:t>05.11.2022</a:t>
            </a:fld>
            <a:endParaRPr lang="en-L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68CD1-C846-864B-8FF5-193D2956B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L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5D875-456D-074B-9AD9-F14C62DF5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2A2A8-704E-EF48-80AE-D3783EE37A42}" type="slidenum">
              <a:t>‹#›</a:t>
            </a:fld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2670081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61" r:id="rId6"/>
    <p:sldLayoutId id="2147483660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1/5/2022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12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11" Type="http://schemas.openxmlformats.org/officeDocument/2006/relationships/slide" Target="slide12.xml"/><Relationship Id="rId5" Type="http://schemas.openxmlformats.org/officeDocument/2006/relationships/slide" Target="slide14.xml"/><Relationship Id="rId10" Type="http://schemas.openxmlformats.org/officeDocument/2006/relationships/image" Target="../media/image6.png"/><Relationship Id="rId4" Type="http://schemas.openxmlformats.org/officeDocument/2006/relationships/image" Target="../media/image4.png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3.jpeg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22.jpg"/><Relationship Id="rId11" Type="http://schemas.openxmlformats.org/officeDocument/2006/relationships/image" Target="../media/image13.jpg"/><Relationship Id="rId5" Type="http://schemas.openxmlformats.org/officeDocument/2006/relationships/image" Target="../media/image16.jpg"/><Relationship Id="rId10" Type="http://schemas.openxmlformats.org/officeDocument/2006/relationships/image" Target="../media/image15.jpg"/><Relationship Id="rId4" Type="http://schemas.openxmlformats.org/officeDocument/2006/relationships/image" Target="../media/image20.emf"/><Relationship Id="rId9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3.jpeg"/><Relationship Id="rId7" Type="http://schemas.openxmlformats.org/officeDocument/2006/relationships/image" Target="../media/image13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12.jpeg"/><Relationship Id="rId11" Type="http://schemas.openxmlformats.org/officeDocument/2006/relationships/image" Target="../media/image15.jpg"/><Relationship Id="rId5" Type="http://schemas.openxmlformats.org/officeDocument/2006/relationships/image" Target="../media/image22.jpg"/><Relationship Id="rId10" Type="http://schemas.openxmlformats.org/officeDocument/2006/relationships/image" Target="../media/image21.jpeg"/><Relationship Id="rId4" Type="http://schemas.openxmlformats.org/officeDocument/2006/relationships/image" Target="../media/image20.emf"/><Relationship Id="rId9" Type="http://schemas.openxmlformats.org/officeDocument/2006/relationships/image" Target="../media/image18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microsoft.com/office/2007/relationships/hdphoto" Target="../media/hdphoto2.wdp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microsoft.com/office/2007/relationships/hdphoto" Target="../media/hdphoto3.wdp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3.jpeg"/><Relationship Id="rId7" Type="http://schemas.openxmlformats.org/officeDocument/2006/relationships/image" Target="../media/image15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jpg"/><Relationship Id="rId10" Type="http://schemas.openxmlformats.org/officeDocument/2006/relationships/image" Target="../media/image18.jpg"/><Relationship Id="rId4" Type="http://schemas.openxmlformats.org/officeDocument/2006/relationships/image" Target="../media/image12.jpeg"/><Relationship Id="rId9" Type="http://schemas.openxmlformats.org/officeDocument/2006/relationships/image" Target="../media/image17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3.jpeg"/><Relationship Id="rId7" Type="http://schemas.openxmlformats.org/officeDocument/2006/relationships/image" Target="../media/image21.jpeg"/><Relationship Id="rId12" Type="http://schemas.openxmlformats.org/officeDocument/2006/relationships/image" Target="../media/image18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5.jpg"/><Relationship Id="rId11" Type="http://schemas.openxmlformats.org/officeDocument/2006/relationships/image" Target="../media/image17.jpg"/><Relationship Id="rId5" Type="http://schemas.openxmlformats.org/officeDocument/2006/relationships/image" Target="../media/image13.jpg"/><Relationship Id="rId10" Type="http://schemas.openxmlformats.org/officeDocument/2006/relationships/image" Target="../media/image23.jpg"/><Relationship Id="rId4" Type="http://schemas.openxmlformats.org/officeDocument/2006/relationships/image" Target="../media/image20.emf"/><Relationship Id="rId9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3.jpeg"/><Relationship Id="rId7" Type="http://schemas.openxmlformats.org/officeDocument/2006/relationships/image" Target="../media/image18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21.jpeg"/><Relationship Id="rId11" Type="http://schemas.openxmlformats.org/officeDocument/2006/relationships/image" Target="../media/image23.jpg"/><Relationship Id="rId5" Type="http://schemas.openxmlformats.org/officeDocument/2006/relationships/image" Target="../media/image15.jpg"/><Relationship Id="rId10" Type="http://schemas.openxmlformats.org/officeDocument/2006/relationships/image" Target="../media/image22.jpg"/><Relationship Id="rId4" Type="http://schemas.openxmlformats.org/officeDocument/2006/relationships/image" Target="../media/image20.emf"/><Relationship Id="rId9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3.jpeg"/><Relationship Id="rId7" Type="http://schemas.openxmlformats.org/officeDocument/2006/relationships/image" Target="../media/image16.jpg"/><Relationship Id="rId12" Type="http://schemas.openxmlformats.org/officeDocument/2006/relationships/image" Target="../media/image23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8.jpg"/><Relationship Id="rId11" Type="http://schemas.openxmlformats.org/officeDocument/2006/relationships/image" Target="../media/image22.jpg"/><Relationship Id="rId5" Type="http://schemas.openxmlformats.org/officeDocument/2006/relationships/image" Target="../media/image21.jpeg"/><Relationship Id="rId10" Type="http://schemas.openxmlformats.org/officeDocument/2006/relationships/image" Target="../media/image12.jpeg"/><Relationship Id="rId4" Type="http://schemas.openxmlformats.org/officeDocument/2006/relationships/image" Target="../media/image20.emf"/><Relationship Id="rId9" Type="http://schemas.openxmlformats.org/officeDocument/2006/relationships/image" Target="../media/image13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3.jpeg"/><Relationship Id="rId7" Type="http://schemas.openxmlformats.org/officeDocument/2006/relationships/image" Target="../media/image22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16.jpg"/><Relationship Id="rId11" Type="http://schemas.openxmlformats.org/officeDocument/2006/relationships/image" Target="../media/image12.jpeg"/><Relationship Id="rId5" Type="http://schemas.openxmlformats.org/officeDocument/2006/relationships/image" Target="../media/image18.jpg"/><Relationship Id="rId10" Type="http://schemas.openxmlformats.org/officeDocument/2006/relationships/image" Target="../media/image13.jpg"/><Relationship Id="rId4" Type="http://schemas.openxmlformats.org/officeDocument/2006/relationships/image" Target="../media/image20.emf"/><Relationship Id="rId9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g">
            <a:extLst>
              <a:ext uri="{FF2B5EF4-FFF2-40B4-BE49-F238E27FC236}">
                <a16:creationId xmlns:a16="http://schemas.microsoft.com/office/drawing/2014/main" id="{FAE37928-628E-1B40-972B-1FCDC7355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t="39" b="39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AFAC6AD-E06A-BD4A-AB39-35849B2BFA2D}"/>
              </a:ext>
            </a:extLst>
          </p:cNvPr>
          <p:cNvCxnSpPr>
            <a:cxnSpLocks/>
          </p:cNvCxnSpPr>
          <p:nvPr/>
        </p:nvCxnSpPr>
        <p:spPr>
          <a:xfrm flipV="1">
            <a:off x="2987610" y="3106622"/>
            <a:ext cx="1754501" cy="1065717"/>
          </a:xfrm>
          <a:prstGeom prst="line">
            <a:avLst/>
          </a:prstGeom>
          <a:solidFill>
            <a:srgbClr val="12231D">
              <a:alpha val="40000"/>
            </a:srgbClr>
          </a:solidFill>
          <a:ln w="63500" cap="rnd">
            <a:solidFill>
              <a:schemeClr val="bg1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ECD39E-EC9A-954A-B4CF-9BCD99C8CFAE}"/>
              </a:ext>
            </a:extLst>
          </p:cNvPr>
          <p:cNvCxnSpPr>
            <a:cxnSpLocks/>
          </p:cNvCxnSpPr>
          <p:nvPr/>
        </p:nvCxnSpPr>
        <p:spPr>
          <a:xfrm flipH="1" flipV="1">
            <a:off x="6680718" y="3322453"/>
            <a:ext cx="2025132" cy="973322"/>
          </a:xfrm>
          <a:prstGeom prst="line">
            <a:avLst/>
          </a:prstGeom>
          <a:solidFill>
            <a:srgbClr val="12231D">
              <a:alpha val="40000"/>
            </a:srgbClr>
          </a:solidFill>
          <a:ln w="63500" cap="rnd">
            <a:solidFill>
              <a:schemeClr val="bg1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5D0BD90-6384-4F42-BDBE-A945AF012A9F}"/>
              </a:ext>
            </a:extLst>
          </p:cNvPr>
          <p:cNvSpPr/>
          <p:nvPr/>
        </p:nvSpPr>
        <p:spPr>
          <a:xfrm>
            <a:off x="5356859" y="385357"/>
            <a:ext cx="147829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5400" b="1" spc="300" dirty="0">
                <a:solidFill>
                  <a:schemeClr val="bg1"/>
                </a:solidFill>
                <a:effectLst>
                  <a:outerShdw blurRad="292100" sx="102000" sy="102000" algn="ctr" rotWithShape="0">
                    <a:prstClr val="black">
                      <a:alpha val="52000"/>
                    </a:prstClr>
                  </a:outerShdw>
                </a:effectLst>
                <a:latin typeface="Montserrat" panose="00000500000000000000" pitchFamily="2" charset="0"/>
              </a:rPr>
              <a:t>FIC</a:t>
            </a:r>
            <a:endParaRPr lang="en-LT" sz="5400" b="1" spc="300" dirty="0">
              <a:solidFill>
                <a:schemeClr val="bg1"/>
              </a:solidFill>
              <a:effectLst>
                <a:outerShdw blurRad="292100" sx="102000" sy="102000" algn="ctr" rotWithShape="0">
                  <a:prstClr val="black">
                    <a:alpha val="52000"/>
                  </a:prstClr>
                </a:outerShdw>
              </a:effectLst>
              <a:latin typeface="Montserrat" panose="00000500000000000000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D1D4DDA-3BA2-7F47-974A-FC6F909C89E4}"/>
              </a:ext>
            </a:extLst>
          </p:cNvPr>
          <p:cNvSpPr/>
          <p:nvPr/>
        </p:nvSpPr>
        <p:spPr>
          <a:xfrm>
            <a:off x="3773900" y="1179600"/>
            <a:ext cx="46442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2000" spc="300" dirty="0">
                <a:solidFill>
                  <a:schemeClr val="bg1"/>
                </a:solidFill>
                <a:effectLst>
                  <a:outerShdw blurRad="292100" sx="102000" sy="102000" algn="ctr" rotWithShape="0">
                    <a:prstClr val="black">
                      <a:alpha val="52000"/>
                    </a:prstClr>
                  </a:outerShdw>
                </a:effectLst>
                <a:latin typeface="Montserrat" panose="00000500000000000000" pitchFamily="2" charset="0"/>
              </a:rPr>
              <a:t>Sesiunea 3 – S6</a:t>
            </a:r>
            <a:r>
              <a:rPr lang="en-US" sz="2000" spc="300" dirty="0">
                <a:solidFill>
                  <a:schemeClr val="bg1"/>
                </a:solidFill>
                <a:effectLst>
                  <a:outerShdw blurRad="292100" sx="102000" sy="102000" algn="ctr" rotWithShape="0">
                    <a:prstClr val="black">
                      <a:alpha val="52000"/>
                    </a:prstClr>
                  </a:outerShdw>
                </a:effectLst>
                <a:latin typeface="Montserrat" panose="00000500000000000000" pitchFamily="2" charset="0"/>
              </a:rPr>
              <a:t> – </a:t>
            </a:r>
            <a:r>
              <a:rPr lang="en-US" sz="2000" spc="300" dirty="0" err="1">
                <a:solidFill>
                  <a:schemeClr val="bg1"/>
                </a:solidFill>
                <a:effectLst>
                  <a:outerShdw blurRad="292100" sx="102000" sy="102000" algn="ctr" rotWithShape="0">
                    <a:prstClr val="black">
                      <a:alpha val="52000"/>
                    </a:prstClr>
                  </a:outerShdw>
                </a:effectLst>
                <a:latin typeface="Montserrat" panose="00000500000000000000" pitchFamily="2" charset="0"/>
              </a:rPr>
              <a:t>Grupa</a:t>
            </a:r>
            <a:r>
              <a:rPr lang="en-US" sz="2000" spc="300" dirty="0">
                <a:solidFill>
                  <a:schemeClr val="bg1"/>
                </a:solidFill>
                <a:effectLst>
                  <a:outerShdw blurRad="292100" sx="102000" sy="102000" algn="ctr" rotWithShape="0">
                    <a:prstClr val="black">
                      <a:alpha val="52000"/>
                    </a:prstClr>
                  </a:outerShdw>
                </a:effectLst>
                <a:latin typeface="Montserrat" panose="00000500000000000000" pitchFamily="2" charset="0"/>
              </a:rPr>
              <a:t> 2.2</a:t>
            </a:r>
            <a:endParaRPr lang="en-LT" sz="2000" spc="300" dirty="0">
              <a:solidFill>
                <a:schemeClr val="bg1"/>
              </a:solidFill>
              <a:effectLst>
                <a:outerShdw blurRad="292100" sx="102000" sy="102000" algn="ctr" rotWithShape="0">
                  <a:prstClr val="black">
                    <a:alpha val="52000"/>
                  </a:prstClr>
                </a:outerShdw>
              </a:effectLst>
              <a:latin typeface="Montserrat" panose="00000500000000000000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2" name="Section Zoom 11">
                <a:extLst>
                  <a:ext uri="{FF2B5EF4-FFF2-40B4-BE49-F238E27FC236}">
                    <a16:creationId xmlns:a16="http://schemas.microsoft.com/office/drawing/2014/main" id="{C195487E-923E-634E-A4C3-E9368C2DE56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03968798"/>
                  </p:ext>
                </p:extLst>
              </p:nvPr>
            </p:nvGraphicFramePr>
            <p:xfrm>
              <a:off x="8010525" y="3560805"/>
              <a:ext cx="3588214" cy="2018370"/>
            </p:xfrm>
            <a:graphic>
              <a:graphicData uri="http://schemas.microsoft.com/office/powerpoint/2016/sectionzoom">
                <psez:sectionZm>
                  <psez:sectionZmObj sectionId="{D01103C6-D9B4-874A-903D-1D54C47D2E73}">
                    <psez:zmPr id="{23888936-E0DE-5545-AD69-CCF83ACA0790}" transitionDur="1000" showBg="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88214" cy="2018370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2" name="Section Zoom 11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C195487E-923E-634E-A4C3-E9368C2DE56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010525" y="3560805"/>
                <a:ext cx="3588214" cy="201837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039C2E45-7383-084C-A25A-231F40FCFD8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8574153"/>
                  </p:ext>
                </p:extLst>
              </p:nvPr>
            </p:nvGraphicFramePr>
            <p:xfrm>
              <a:off x="-64272" y="3809114"/>
              <a:ext cx="3850458" cy="2165882"/>
            </p:xfrm>
            <a:graphic>
              <a:graphicData uri="http://schemas.microsoft.com/office/powerpoint/2016/sectionzoom">
                <psez:sectionZm>
                  <psez:sectionZmObj sectionId="{34C61D3D-3DDA-8544-919D-38908B71CF6E}">
                    <psez:zmPr id="{4BF83247-9042-D446-B9D6-CD882B6CF45B}" transitionDur="1000" showBg="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850458" cy="2165882"/>
                        </a:xfrm>
                        <a:prstGeom prst="rect">
                          <a:avLst/>
                        </a:prstGeom>
                        <a:effectLst/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6" name="Section Zoom 5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039C2E45-7383-084C-A25A-231F40FCFD8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-64272" y="3809114"/>
                <a:ext cx="3850458" cy="2165882"/>
              </a:xfrm>
              <a:prstGeom prst="rect">
                <a:avLst/>
              </a:prstGeom>
              <a:effectLst/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4" name="Section Zoom 3">
                <a:extLst>
                  <a:ext uri="{FF2B5EF4-FFF2-40B4-BE49-F238E27FC236}">
                    <a16:creationId xmlns:a16="http://schemas.microsoft.com/office/drawing/2014/main" id="{B2D661A4-8895-1E43-9238-4B6D30F2FF2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34916607"/>
                  </p:ext>
                </p:extLst>
              </p:nvPr>
            </p:nvGraphicFramePr>
            <p:xfrm>
              <a:off x="4182263" y="201376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DBB0F080-D76F-2449-A8A8-97428CE5CDE4}">
                    <psez:zmPr id="{E31B0801-3E89-AF44-A1B1-5F4CCB54772F}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4" name="Section Zoom 3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B2D661A4-8895-1E43-9238-4B6D30F2FF2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182263" y="2013766"/>
                <a:ext cx="3048000" cy="17145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85354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000" fill="hold"/>
                                        <p:tgtEl>
                                          <p:spTgt spid="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6" r="26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81" b="181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08" b="108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84" b="84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69" r="369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69" b="169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46" b="246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87535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/>
              <a:t>DEVELOPER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23092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35878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-103352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173997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o-RO" altLang="de-DE" dirty="0" err="1"/>
              <a:t>Goșa</a:t>
            </a:r>
            <a:r>
              <a:rPr lang="ro-RO" altLang="de-DE" dirty="0"/>
              <a:t> Cristian</a:t>
            </a:r>
            <a:endParaRPr lang="de-DE" alt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05" b="205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62207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163283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769860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4228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81" b="181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05" b="205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49" b="149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23" r="123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55" r="55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230" r="230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66" b="266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009549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/>
              <a:t>TESTING &amp; QA+UX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2309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35879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9745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109433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o-RO" altLang="de-DE" dirty="0"/>
              <a:t>Gheorghe Iulia</a:t>
            </a:r>
            <a:endParaRPr lang="de-DE" alt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46" b="246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62206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586377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789322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86961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B8A42B65-566C-0A41-B8C2-5032B07BD196}"/>
              </a:ext>
            </a:extLst>
          </p:cNvPr>
          <p:cNvSpPr/>
          <p:nvPr/>
        </p:nvSpPr>
        <p:spPr>
          <a:xfrm>
            <a:off x="2869581" y="202582"/>
            <a:ext cx="6452840" cy="6452838"/>
          </a:xfrm>
          <a:prstGeom prst="ellipse">
            <a:avLst/>
          </a:prstGeom>
          <a:solidFill>
            <a:srgbClr val="12231D">
              <a:alpha val="40000"/>
            </a:srgb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74933B-DF67-D14D-ACC6-194EA400210B}"/>
              </a:ext>
            </a:extLst>
          </p:cNvPr>
          <p:cNvSpPr/>
          <p:nvPr/>
        </p:nvSpPr>
        <p:spPr>
          <a:xfrm>
            <a:off x="2947643" y="3389971"/>
            <a:ext cx="629671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05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uLnTx/>
                <a:uFillTx/>
                <a:latin typeface="Raleway Black" panose="020B0503030101060003" pitchFamily="34" charset="77"/>
                <a:ea typeface="+mn-ea"/>
                <a:cs typeface="+mn-cs"/>
              </a:rPr>
              <a:t>Proiect</a:t>
            </a:r>
            <a:endParaRPr kumimoji="0" lang="en-LT" sz="105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uLnTx/>
              <a:uFillTx/>
              <a:latin typeface="Raleway Black" panose="020B0503030101060003" pitchFamily="34" charset="77"/>
              <a:ea typeface="+mn-ea"/>
              <a:cs typeface="+mn-cs"/>
            </a:endParaRPr>
          </a:p>
        </p:txBody>
      </p:sp>
      <p:pic>
        <p:nvPicPr>
          <p:cNvPr id="5" name="Graphic 4" descr="Bar graph with upward trend with solid fill">
            <a:extLst>
              <a:ext uri="{FF2B5EF4-FFF2-40B4-BE49-F238E27FC236}">
                <a16:creationId xmlns:a16="http://schemas.microsoft.com/office/drawing/2014/main" id="{D06CA14A-1988-B749-953E-210BAD5FF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3346" y="1035204"/>
            <a:ext cx="2505308" cy="2505308"/>
          </a:xfrm>
          <a:prstGeom prst="rect">
            <a:avLst/>
          </a:prstGeom>
          <a:effectLst>
            <a:outerShdw blurRad="1778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67597831"/>
      </p:ext>
    </p:extLst>
  </p:cSld>
  <p:clrMapOvr>
    <a:masterClrMapping/>
  </p:clrMapOvr>
  <p:transition spd="slow" advTm="0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D7294908-9A58-794A-B85A-622DC85DA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 l="63" r="6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8A42B65-566C-0A41-B8C2-5032B07BD196}"/>
              </a:ext>
            </a:extLst>
          </p:cNvPr>
          <p:cNvSpPr/>
          <p:nvPr/>
        </p:nvSpPr>
        <p:spPr>
          <a:xfrm>
            <a:off x="-1364972" y="-4031970"/>
            <a:ext cx="14921946" cy="14921942"/>
          </a:xfrm>
          <a:prstGeom prst="ellipse">
            <a:avLst/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pic>
        <p:nvPicPr>
          <p:cNvPr id="5" name="Graphic 4" descr="Bar graph with upward trend with solid fill">
            <a:extLst>
              <a:ext uri="{FF2B5EF4-FFF2-40B4-BE49-F238E27FC236}">
                <a16:creationId xmlns:a16="http://schemas.microsoft.com/office/drawing/2014/main" id="{D06CA14A-1988-B749-953E-210BAD5FF4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78605" y="399586"/>
            <a:ext cx="1434790" cy="1434790"/>
          </a:xfrm>
          <a:prstGeom prst="rect">
            <a:avLst/>
          </a:prstGeom>
          <a:effectLst>
            <a:outerShdw blurRad="1778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6BA49A1-C4F8-6543-8240-061A4699B32F}"/>
              </a:ext>
            </a:extLst>
          </p:cNvPr>
          <p:cNvSpPr/>
          <p:nvPr/>
        </p:nvSpPr>
        <p:spPr>
          <a:xfrm>
            <a:off x="2323173" y="1834088"/>
            <a:ext cx="791203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o-RO" sz="66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CALCULATOR</a:t>
            </a:r>
          </a:p>
          <a:p>
            <a:pPr algn="ctr"/>
            <a:r>
              <a:rPr lang="ro-RO" sz="66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DE BUZUNAR</a:t>
            </a:r>
            <a:endParaRPr lang="en-LT" sz="6600" b="1" spc="-150" dirty="0">
              <a:solidFill>
                <a:schemeClr val="bg1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latin typeface="Raleway Black" panose="020B0503030101060003" pitchFamily="34" charset="77"/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55C861A1-5041-FA48-9C08-E00E83BF7177}"/>
              </a:ext>
            </a:extLst>
          </p:cNvPr>
          <p:cNvSpPr/>
          <p:nvPr/>
        </p:nvSpPr>
        <p:spPr>
          <a:xfrm>
            <a:off x="9311270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5D6F6DD-4828-4A4E-9336-6CCFE09E4AFE}"/>
              </a:ext>
            </a:extLst>
          </p:cNvPr>
          <p:cNvSpPr/>
          <p:nvPr/>
        </p:nvSpPr>
        <p:spPr>
          <a:xfrm>
            <a:off x="10120433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9FE9B72F-DF87-5F4E-B684-D0770028819B}"/>
              </a:ext>
            </a:extLst>
          </p:cNvPr>
          <p:cNvSpPr/>
          <p:nvPr/>
        </p:nvSpPr>
        <p:spPr>
          <a:xfrm>
            <a:off x="10912521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AE454DD4-D90A-704B-ABC6-4575E360C82E}"/>
              </a:ext>
            </a:extLst>
          </p:cNvPr>
          <p:cNvSpPr/>
          <p:nvPr/>
        </p:nvSpPr>
        <p:spPr>
          <a:xfrm>
            <a:off x="534309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68481F1-4643-EF42-A9CE-7AE30251B04D}"/>
              </a:ext>
            </a:extLst>
          </p:cNvPr>
          <p:cNvSpPr/>
          <p:nvPr/>
        </p:nvSpPr>
        <p:spPr>
          <a:xfrm>
            <a:off x="1343472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4B79AB2B-D9AB-BB40-95B4-1E83C4B41C2F}"/>
              </a:ext>
            </a:extLst>
          </p:cNvPr>
          <p:cNvSpPr/>
          <p:nvPr/>
        </p:nvSpPr>
        <p:spPr>
          <a:xfrm>
            <a:off x="2135560" y="3824867"/>
            <a:ext cx="602166" cy="3033133"/>
          </a:xfrm>
          <a:prstGeom prst="rect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</p:spTree>
    <p:extLst>
      <p:ext uri="{BB962C8B-B14F-4D97-AF65-F5344CB8AC3E}">
        <p14:creationId xmlns:p14="http://schemas.microsoft.com/office/powerpoint/2010/main" val="30018723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6" dur="1500" fill="hold"/>
                                        <p:tgtEl>
                                          <p:spTgt spid="8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1.45833E-6 -3.7037E-6 L -1.45833E-6 -0.05532 " pathEditMode="relative" rAng="0" ptsTypes="AA">
                                      <p:cBhvr>
                                        <p:cTn id="8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ccel="50000" decel="50000" autoRev="1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animScale>
                                      <p:cBhvr>
                                        <p:cTn id="10" dur="1500" fill="hold"/>
                                        <p:tgtEl>
                                          <p:spTgt spid="18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autoRev="1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2.5E-6 -3.7037E-6 L 2.5E-6 -0.05532 " pathEditMode="relative" rAng="0" ptsTypes="AA">
                                      <p:cBhvr>
                                        <p:cTn id="12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50000" decel="50000" autoRev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14" dur="1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1.45833E-6 -3.7037E-6 L -1.45833E-6 -0.05532 " pathEditMode="relative" rAng="0" ptsTypes="AA">
                                      <p:cBhvr>
                                        <p:cTn id="16" dur="1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1500" fill="hold"/>
                                        <p:tgtEl>
                                          <p:spTgt spid="20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3.7037E-6 L 4.16667E-7 -0.05532 " pathEditMode="relative" rAng="0" ptsTypes="AA">
                                      <p:cBhvr>
                                        <p:cTn id="20" dur="1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ccel="50000" decel="50000" autoRev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2" dur="1500" fill="hold"/>
                                        <p:tgtEl>
                                          <p:spTgt spid="21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4.16667E-6 -3.7037E-6 L 4.16667E-6 -0.05532 " pathEditMode="relative" rAng="0" ptsTypes="AA">
                                      <p:cBhvr>
                                        <p:cTn id="24" dur="1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repeatCount="indefinite" accel="50000" decel="50000" autoRev="1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26" dur="1500" fill="hold"/>
                                        <p:tgtEl>
                                          <p:spTgt spid="22"/>
                                        </p:tgtEl>
                                      </p:cBhvr>
                                      <p:by x="100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autoRev="1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08333E-7 -3.7037E-6 L 2.08333E-7 -0.05532 " pathEditMode="relative" rAng="0" ptsTypes="AA">
                                      <p:cBhvr>
                                        <p:cTn id="28" dur="1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B8A42B65-566C-0A41-B8C2-5032B07BD196}"/>
              </a:ext>
            </a:extLst>
          </p:cNvPr>
          <p:cNvSpPr/>
          <p:nvPr/>
        </p:nvSpPr>
        <p:spPr>
          <a:xfrm>
            <a:off x="2869581" y="202582"/>
            <a:ext cx="6452840" cy="6452838"/>
          </a:xfrm>
          <a:prstGeom prst="ellipse">
            <a:avLst/>
          </a:prstGeom>
          <a:solidFill>
            <a:srgbClr val="12231D">
              <a:alpha val="40000"/>
            </a:srgb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T" sz="8000" b="1" i="0" u="none" strike="noStrike" kern="1200" cap="none" spc="-15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anose="020B0503030101060003" pitchFamily="34" charset="77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74933B-DF67-D14D-ACC6-194EA400210B}"/>
              </a:ext>
            </a:extLst>
          </p:cNvPr>
          <p:cNvSpPr/>
          <p:nvPr/>
        </p:nvSpPr>
        <p:spPr>
          <a:xfrm>
            <a:off x="2947643" y="3389971"/>
            <a:ext cx="598175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6000" b="1" spc="-150" dirty="0" err="1">
                <a:solidFill>
                  <a:srgbClr val="FFFFFF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Instruction</a:t>
            </a:r>
            <a:r>
              <a:rPr lang="ro-RO" sz="6000" b="1" spc="-150" dirty="0">
                <a:solidFill>
                  <a:srgbClr val="FFFFFF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 Set + Specific IS </a:t>
            </a:r>
            <a:r>
              <a:rPr lang="ro-RO" sz="6000" b="1" spc="-150" dirty="0" err="1">
                <a:solidFill>
                  <a:srgbClr val="FFFFFF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ideas</a:t>
            </a:r>
            <a:endParaRPr kumimoji="0" lang="en-LT" sz="60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uLnTx/>
              <a:uFillTx/>
              <a:latin typeface="Raleway Black" panose="020B0503030101060003" pitchFamily="34" charset="77"/>
              <a:ea typeface="+mn-ea"/>
              <a:cs typeface="+mn-cs"/>
            </a:endParaRPr>
          </a:p>
        </p:txBody>
      </p:sp>
      <p:pic>
        <p:nvPicPr>
          <p:cNvPr id="6" name="Graphic 5" descr="Potion with solid fill">
            <a:extLst>
              <a:ext uri="{FF2B5EF4-FFF2-40B4-BE49-F238E27FC236}">
                <a16:creationId xmlns:a16="http://schemas.microsoft.com/office/drawing/2014/main" id="{CEB538FE-34FC-714C-8121-3DEF7E6B04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98380" y="659779"/>
            <a:ext cx="2795240" cy="2795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998466"/>
      </p:ext>
    </p:extLst>
  </p:cSld>
  <p:clrMapOvr>
    <a:masterClrMapping/>
  </p:clrMapOvr>
  <p:transition spd="slow" advTm="0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7E6FB2E9-7E21-1A4B-B7D9-51B1351B35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8A42B65-566C-0A41-B8C2-5032B07BD196}"/>
              </a:ext>
            </a:extLst>
          </p:cNvPr>
          <p:cNvSpPr/>
          <p:nvPr/>
        </p:nvSpPr>
        <p:spPr>
          <a:xfrm>
            <a:off x="-1364972" y="-4031970"/>
            <a:ext cx="14921946" cy="14921942"/>
          </a:xfrm>
          <a:prstGeom prst="ellipse">
            <a:avLst/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BA49A1-C4F8-6543-8240-061A4699B32F}"/>
              </a:ext>
            </a:extLst>
          </p:cNvPr>
          <p:cNvSpPr/>
          <p:nvPr/>
        </p:nvSpPr>
        <p:spPr>
          <a:xfrm>
            <a:off x="4460003" y="1834088"/>
            <a:ext cx="327205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3600" b="1" spc="-150" dirty="0" err="1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Instruction</a:t>
            </a:r>
            <a:r>
              <a:rPr lang="ro-RO" sz="36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 Set</a:t>
            </a:r>
            <a:endParaRPr lang="en-LT" sz="3600" b="1" spc="-150" dirty="0">
              <a:solidFill>
                <a:schemeClr val="bg1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latin typeface="Raleway Black" panose="020B05030301010600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E686A0-D3CF-4B45-AB0E-0CEACD1B22AE}"/>
              </a:ext>
            </a:extLst>
          </p:cNvPr>
          <p:cNvSpPr/>
          <p:nvPr/>
        </p:nvSpPr>
        <p:spPr>
          <a:xfrm>
            <a:off x="3081454" y="3481925"/>
            <a:ext cx="602909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Ridicare la putere</a:t>
            </a:r>
            <a:r>
              <a:rPr lang="en-US" sz="2000" spc="300">
                <a:solidFill>
                  <a:schemeClr val="bg1"/>
                </a:solidFill>
                <a:latin typeface="Raleway" panose="020B0503030101060003" pitchFamily="34" charset="77"/>
              </a:rPr>
              <a:t>a</a:t>
            </a:r>
            <a:r>
              <a:rPr lang="ro-RO" sz="2000" spc="300">
                <a:solidFill>
                  <a:schemeClr val="bg1"/>
                </a:solidFill>
                <a:latin typeface="Raleway" panose="020B0503030101060003" pitchFamily="34" charset="77"/>
              </a:rPr>
              <a:t> </a:t>
            </a: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n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AC - Resetarea acumulatorului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C/CE – ON/OFF – daca e OFF </a:t>
            </a:r>
            <a:r>
              <a:rPr lang="ro-RO" sz="2000" spc="300" dirty="0" err="1">
                <a:solidFill>
                  <a:schemeClr val="bg1"/>
                </a:solidFill>
                <a:latin typeface="Raleway" panose="020B0503030101060003" pitchFamily="34" charset="77"/>
              </a:rPr>
              <a:t>regiștri</a:t>
            </a:r>
            <a:r>
              <a:rPr lang="en-US" sz="2000" spc="300" dirty="0" err="1">
                <a:solidFill>
                  <a:schemeClr val="bg1"/>
                </a:solidFill>
                <a:latin typeface="Raleway" panose="020B0503030101060003" pitchFamily="34" charset="77"/>
              </a:rPr>
              <a:t>i</a:t>
            </a: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 și acumulatorul se resetează iar ALU nu mai răspunde la cereri (</a:t>
            </a:r>
            <a:r>
              <a:rPr lang="ro-RO" sz="2000" spc="300" dirty="0" err="1">
                <a:solidFill>
                  <a:schemeClr val="bg1"/>
                </a:solidFill>
                <a:latin typeface="Raleway" panose="020B0503030101060003" pitchFamily="34" charset="77"/>
              </a:rPr>
              <a:t>idle</a:t>
            </a:r>
            <a:r>
              <a:rPr lang="ro-RO" sz="2000" spc="300" dirty="0">
                <a:solidFill>
                  <a:schemeClr val="bg1"/>
                </a:solidFill>
                <a:latin typeface="Raleway" panose="020B0503030101060003" pitchFamily="34" charset="77"/>
              </a:rPr>
              <a:t>)</a:t>
            </a:r>
            <a:endParaRPr lang="en-LT" sz="2000" spc="300" dirty="0">
              <a:solidFill>
                <a:schemeClr val="bg1"/>
              </a:solidFill>
              <a:latin typeface="Raleway" panose="020B0503030101060003" pitchFamily="34" charset="77"/>
            </a:endParaRPr>
          </a:p>
        </p:txBody>
      </p:sp>
      <p:pic>
        <p:nvPicPr>
          <p:cNvPr id="11" name="Graphic 10" descr="Potion with solid fill">
            <a:extLst>
              <a:ext uri="{FF2B5EF4-FFF2-40B4-BE49-F238E27FC236}">
                <a16:creationId xmlns:a16="http://schemas.microsoft.com/office/drawing/2014/main" id="{EC7840E3-BAD3-A84E-B5ED-F442FFC9B8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31783" y="234176"/>
            <a:ext cx="1728434" cy="1728434"/>
          </a:xfrm>
          <a:prstGeom prst="rect">
            <a:avLst/>
          </a:prstGeom>
          <a:effectLst>
            <a:outerShdw blurRad="177800" sx="102000" sy="102000" algn="ctr" rotWithShape="0">
              <a:prstClr val="black">
                <a:alpha val="40000"/>
              </a:prstClr>
            </a:outerShdw>
          </a:effectLst>
        </p:spPr>
      </p:pic>
      <p:sp useBgFill="1">
        <p:nvSpPr>
          <p:cNvPr id="28" name="Oval 27">
            <a:extLst>
              <a:ext uri="{FF2B5EF4-FFF2-40B4-BE49-F238E27FC236}">
                <a16:creationId xmlns:a16="http://schemas.microsoft.com/office/drawing/2014/main" id="{F5655B3E-FE88-834E-A29C-AE048BDB4893}"/>
              </a:ext>
            </a:extLst>
          </p:cNvPr>
          <p:cNvSpPr/>
          <p:nvPr/>
        </p:nvSpPr>
        <p:spPr>
          <a:xfrm>
            <a:off x="8936754" y="1377174"/>
            <a:ext cx="363362" cy="363362"/>
          </a:xfrm>
          <a:prstGeom prst="ellipse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30" name="Oval 29">
            <a:extLst>
              <a:ext uri="{FF2B5EF4-FFF2-40B4-BE49-F238E27FC236}">
                <a16:creationId xmlns:a16="http://schemas.microsoft.com/office/drawing/2014/main" id="{9429F179-E309-5B4C-9AC1-9EAF871D7405}"/>
              </a:ext>
            </a:extLst>
          </p:cNvPr>
          <p:cNvSpPr/>
          <p:nvPr/>
        </p:nvSpPr>
        <p:spPr>
          <a:xfrm>
            <a:off x="9288907" y="1657274"/>
            <a:ext cx="1030414" cy="1030414"/>
          </a:xfrm>
          <a:prstGeom prst="ellipse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31" name="Oval 30">
            <a:extLst>
              <a:ext uri="{FF2B5EF4-FFF2-40B4-BE49-F238E27FC236}">
                <a16:creationId xmlns:a16="http://schemas.microsoft.com/office/drawing/2014/main" id="{D53930A9-9ED7-C347-B138-C9D92018A994}"/>
              </a:ext>
            </a:extLst>
          </p:cNvPr>
          <p:cNvSpPr/>
          <p:nvPr/>
        </p:nvSpPr>
        <p:spPr>
          <a:xfrm>
            <a:off x="10018836" y="2564904"/>
            <a:ext cx="1728192" cy="1728192"/>
          </a:xfrm>
          <a:prstGeom prst="ellipse">
            <a:avLst/>
          </a:prstGeom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BB8A79-C7A0-EFF6-6B1E-5217F4A85907}"/>
              </a:ext>
            </a:extLst>
          </p:cNvPr>
          <p:cNvSpPr txBox="1"/>
          <p:nvPr/>
        </p:nvSpPr>
        <p:spPr>
          <a:xfrm>
            <a:off x="3947014" y="2781117"/>
            <a:ext cx="42979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o-RO" sz="2000" dirty="0">
                <a:solidFill>
                  <a:schemeClr val="bg1"/>
                </a:solidFill>
                <a:latin typeface="Raleway" pitchFamily="2" charset="-18"/>
              </a:rPr>
              <a:t>Cele din Core </a:t>
            </a:r>
            <a:r>
              <a:rPr lang="ro-RO" sz="2000" dirty="0" err="1">
                <a:solidFill>
                  <a:schemeClr val="bg1"/>
                </a:solidFill>
                <a:latin typeface="Raleway" pitchFamily="2" charset="-18"/>
              </a:rPr>
              <a:t>Instruction</a:t>
            </a:r>
            <a:r>
              <a:rPr lang="ro-RO" sz="2000" dirty="0">
                <a:solidFill>
                  <a:schemeClr val="bg1"/>
                </a:solidFill>
                <a:latin typeface="Raleway" pitchFamily="2" charset="-18"/>
              </a:rPr>
              <a:t> Set, plus..</a:t>
            </a:r>
          </a:p>
        </p:txBody>
      </p:sp>
    </p:spTree>
    <p:extLst>
      <p:ext uri="{BB962C8B-B14F-4D97-AF65-F5344CB8AC3E}">
        <p14:creationId xmlns:p14="http://schemas.microsoft.com/office/powerpoint/2010/main" val="30467876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64" presetClass="pat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81481E-6 L 3.54167E-6 -0.13888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4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repeatCount="indefinite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0"/>
                                            </p:cond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64" presetClass="path" presetSubtype="0" repeatCount="indefinite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54167E-6 3.33333E-6 L 3.54167E-6 -0.1388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repeatCount="indefinite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5"/>
                                            </p:cond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8" presetID="64" presetClass="path" presetSubtype="0" repeatCount="indefinite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875E-6 0 L 1.875E-6 -0.13889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30" grpId="0" animBg="1"/>
      <p:bldP spid="30" grpId="1" animBg="1"/>
      <p:bldP spid="31" grpId="0" animBg="1"/>
      <p:bldP spid="31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B8A42B65-566C-0A41-B8C2-5032B07BD196}"/>
              </a:ext>
            </a:extLst>
          </p:cNvPr>
          <p:cNvSpPr/>
          <p:nvPr/>
        </p:nvSpPr>
        <p:spPr>
          <a:xfrm>
            <a:off x="2869581" y="202582"/>
            <a:ext cx="6452840" cy="6452838"/>
          </a:xfrm>
          <a:prstGeom prst="ellipse">
            <a:avLst/>
          </a:prstGeom>
          <a:solidFill>
            <a:srgbClr val="12231D">
              <a:alpha val="40000"/>
            </a:srgb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74933B-DF67-D14D-ACC6-194EA400210B}"/>
              </a:ext>
            </a:extLst>
          </p:cNvPr>
          <p:cNvSpPr/>
          <p:nvPr/>
        </p:nvSpPr>
        <p:spPr>
          <a:xfrm>
            <a:off x="4675584" y="3532924"/>
            <a:ext cx="2840842" cy="10926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65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Echipă</a:t>
            </a:r>
          </a:p>
        </p:txBody>
      </p:sp>
      <p:pic>
        <p:nvPicPr>
          <p:cNvPr id="7" name="Graphic 6" descr="Lights On with solid fill">
            <a:extLst>
              <a:ext uri="{FF2B5EF4-FFF2-40B4-BE49-F238E27FC236}">
                <a16:creationId xmlns:a16="http://schemas.microsoft.com/office/drawing/2014/main" id="{3169A18E-29C1-B14B-9DAC-9A1603958F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20683" y="782444"/>
            <a:ext cx="2750634" cy="2750634"/>
          </a:xfrm>
          <a:prstGeom prst="rect">
            <a:avLst/>
          </a:prstGeom>
          <a:effectLst>
            <a:outerShdw blurRad="1778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7523264"/>
      </p:ext>
    </p:extLst>
  </p:cSld>
  <p:clrMapOvr>
    <a:masterClrMapping/>
  </p:clrMapOvr>
  <p:transition spd="slow" advTm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46BE918B-EA92-1948-9A36-85366B98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/>
        </p:blipFill>
        <p:spPr bwMode="auto">
          <a:xfrm>
            <a:off x="44425" y="2658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CF6B2B7C-89ED-F540-A64D-0D5E18A71354}"/>
              </a:ext>
            </a:extLst>
          </p:cNvPr>
          <p:cNvSpPr/>
          <p:nvPr/>
        </p:nvSpPr>
        <p:spPr>
          <a:xfrm>
            <a:off x="-1450258" y="-4117255"/>
            <a:ext cx="15092516" cy="15092510"/>
          </a:xfrm>
          <a:prstGeom prst="ellipse">
            <a:avLst/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sp useBgFill="1">
        <p:nvSpPr>
          <p:cNvPr id="21" name="Rounded Rectangle 20">
            <a:extLst>
              <a:ext uri="{FF2B5EF4-FFF2-40B4-BE49-F238E27FC236}">
                <a16:creationId xmlns:a16="http://schemas.microsoft.com/office/drawing/2014/main" id="{D6787DAF-363B-FF49-8B5C-94BB07360B4E}"/>
              </a:ext>
            </a:extLst>
          </p:cNvPr>
          <p:cNvSpPr/>
          <p:nvPr/>
        </p:nvSpPr>
        <p:spPr>
          <a:xfrm rot="2314562">
            <a:off x="1496965" y="313773"/>
            <a:ext cx="642321" cy="3943954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 dirty="0"/>
          </a:p>
        </p:txBody>
      </p:sp>
      <p:sp useBgFill="1">
        <p:nvSpPr>
          <p:cNvPr id="22" name="Rounded Rectangle 21">
            <a:extLst>
              <a:ext uri="{FF2B5EF4-FFF2-40B4-BE49-F238E27FC236}">
                <a16:creationId xmlns:a16="http://schemas.microsoft.com/office/drawing/2014/main" id="{A550FAD0-EC64-B541-9FEF-F3F576427C79}"/>
              </a:ext>
            </a:extLst>
          </p:cNvPr>
          <p:cNvSpPr/>
          <p:nvPr/>
        </p:nvSpPr>
        <p:spPr>
          <a:xfrm rot="2314562">
            <a:off x="1384545" y="1613863"/>
            <a:ext cx="642321" cy="4080509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3" name="Rounded Rectangle 22">
            <a:extLst>
              <a:ext uri="{FF2B5EF4-FFF2-40B4-BE49-F238E27FC236}">
                <a16:creationId xmlns:a16="http://schemas.microsoft.com/office/drawing/2014/main" id="{95ACA153-32CF-B343-BD0F-8295EFA0D82C}"/>
              </a:ext>
            </a:extLst>
          </p:cNvPr>
          <p:cNvSpPr/>
          <p:nvPr/>
        </p:nvSpPr>
        <p:spPr>
          <a:xfrm rot="2314562">
            <a:off x="1563665" y="2358741"/>
            <a:ext cx="642321" cy="4513190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4" name="Rounded Rectangle 23">
            <a:extLst>
              <a:ext uri="{FF2B5EF4-FFF2-40B4-BE49-F238E27FC236}">
                <a16:creationId xmlns:a16="http://schemas.microsoft.com/office/drawing/2014/main" id="{4A087067-6FBB-1745-A5D4-628D980A11A2}"/>
              </a:ext>
            </a:extLst>
          </p:cNvPr>
          <p:cNvSpPr/>
          <p:nvPr/>
        </p:nvSpPr>
        <p:spPr>
          <a:xfrm rot="2314562">
            <a:off x="1014528" y="4518245"/>
            <a:ext cx="642321" cy="4019894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ABBEE1-A4F3-6746-AE3A-4B6E12CE6CA3}"/>
              </a:ext>
            </a:extLst>
          </p:cNvPr>
          <p:cNvSpPr/>
          <p:nvPr/>
        </p:nvSpPr>
        <p:spPr>
          <a:xfrm>
            <a:off x="3676178" y="1546648"/>
            <a:ext cx="4660250" cy="2369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60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Noi suntem..</a:t>
            </a:r>
          </a:p>
          <a:p>
            <a:pPr algn="ctr"/>
            <a:endParaRPr lang="en-LT" sz="8800" b="1" spc="-150" dirty="0">
              <a:solidFill>
                <a:schemeClr val="bg1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latin typeface="Raleway Black" panose="020B0503030101060003" pitchFamily="34" charset="77"/>
            </a:endParaRPr>
          </a:p>
        </p:txBody>
      </p:sp>
      <p:pic>
        <p:nvPicPr>
          <p:cNvPr id="25" name="Graphic 24" descr="Lights On with solid fill">
            <a:extLst>
              <a:ext uri="{FF2B5EF4-FFF2-40B4-BE49-F238E27FC236}">
                <a16:creationId xmlns:a16="http://schemas.microsoft.com/office/drawing/2014/main" id="{C9A4FAB4-1D30-504F-AC22-18FA700E0E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44790" y="157975"/>
            <a:ext cx="1702420" cy="1702420"/>
          </a:xfrm>
          <a:prstGeom prst="rect">
            <a:avLst/>
          </a:prstGeom>
          <a:effectLst>
            <a:outerShdw blurRad="177800" sx="102000" sy="102000" algn="ctr" rotWithShape="0">
              <a:prstClr val="black">
                <a:alpha val="40000"/>
              </a:prstClr>
            </a:outerShdw>
          </a:effectLst>
        </p:spPr>
      </p:pic>
      <p:sp useBgFill="1">
        <p:nvSpPr>
          <p:cNvPr id="26" name="Rounded Rectangle 25">
            <a:extLst>
              <a:ext uri="{FF2B5EF4-FFF2-40B4-BE49-F238E27FC236}">
                <a16:creationId xmlns:a16="http://schemas.microsoft.com/office/drawing/2014/main" id="{79CF8A2E-6CD9-C246-88DB-41410F96B594}"/>
              </a:ext>
            </a:extLst>
          </p:cNvPr>
          <p:cNvSpPr/>
          <p:nvPr/>
        </p:nvSpPr>
        <p:spPr>
          <a:xfrm rot="2314562">
            <a:off x="10002831" y="2171981"/>
            <a:ext cx="642321" cy="3943954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7" name="Rounded Rectangle 26">
            <a:extLst>
              <a:ext uri="{FF2B5EF4-FFF2-40B4-BE49-F238E27FC236}">
                <a16:creationId xmlns:a16="http://schemas.microsoft.com/office/drawing/2014/main" id="{8BF71943-E162-8646-B793-F730AF1116CA}"/>
              </a:ext>
            </a:extLst>
          </p:cNvPr>
          <p:cNvSpPr/>
          <p:nvPr/>
        </p:nvSpPr>
        <p:spPr>
          <a:xfrm rot="2314562">
            <a:off x="9890411" y="3472071"/>
            <a:ext cx="642321" cy="4080509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8" name="Rounded Rectangle 27">
            <a:extLst>
              <a:ext uri="{FF2B5EF4-FFF2-40B4-BE49-F238E27FC236}">
                <a16:creationId xmlns:a16="http://schemas.microsoft.com/office/drawing/2014/main" id="{FC8B7B47-AD94-0B42-BF9A-FB712535E5D0}"/>
              </a:ext>
            </a:extLst>
          </p:cNvPr>
          <p:cNvSpPr/>
          <p:nvPr/>
        </p:nvSpPr>
        <p:spPr>
          <a:xfrm rot="2314562">
            <a:off x="10069531" y="4216949"/>
            <a:ext cx="642321" cy="4513190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 useBgFill="1">
        <p:nvSpPr>
          <p:cNvPr id="29" name="Rounded Rectangle 28">
            <a:extLst>
              <a:ext uri="{FF2B5EF4-FFF2-40B4-BE49-F238E27FC236}">
                <a16:creationId xmlns:a16="http://schemas.microsoft.com/office/drawing/2014/main" id="{14E00701-098F-CD4F-A308-C7B7ECDFF684}"/>
              </a:ext>
            </a:extLst>
          </p:cNvPr>
          <p:cNvSpPr/>
          <p:nvPr/>
        </p:nvSpPr>
        <p:spPr>
          <a:xfrm rot="2314562">
            <a:off x="9520394" y="6376453"/>
            <a:ext cx="642321" cy="4019894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8A1969-EC71-FE42-F8C2-648B796485E4}"/>
              </a:ext>
            </a:extLst>
          </p:cNvPr>
          <p:cNvSpPr txBox="1"/>
          <p:nvPr/>
        </p:nvSpPr>
        <p:spPr>
          <a:xfrm>
            <a:off x="726211" y="4413359"/>
            <a:ext cx="760911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88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Car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00664F-17CC-7E3B-D08D-E56F47058962}"/>
              </a:ext>
            </a:extLst>
          </p:cNvPr>
          <p:cNvSpPr txBox="1"/>
          <p:nvPr/>
        </p:nvSpPr>
        <p:spPr>
          <a:xfrm>
            <a:off x="6006303" y="4538100"/>
            <a:ext cx="760911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o-RO" sz="88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Home</a:t>
            </a:r>
            <a:endParaRPr lang="ro-RO" sz="8800" dirty="0"/>
          </a:p>
        </p:txBody>
      </p:sp>
    </p:spTree>
    <p:extLst>
      <p:ext uri="{BB962C8B-B14F-4D97-AF65-F5344CB8AC3E}">
        <p14:creationId xmlns:p14="http://schemas.microsoft.com/office/powerpoint/2010/main" val="38428075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6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3.33333E-6 L 0.04245 -0.09352 " pathEditMode="relative" rAng="0" ptsTypes="AA">
                                      <p:cBhvr>
                                        <p:cTn id="20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56" presetClass="path" presetSubtype="0" repeatCount="indefinite" accel="50000" decel="50000" autoRev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5E-6 -3.7037E-7 L 0.04245 -0.09352 " pathEditMode="relative" rAng="0" ptsTypes="AA">
                                      <p:cBhvr>
                                        <p:cTn id="22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56" presetClass="path" presetSubtype="0" repeatCount="indefinite" accel="50000" decel="50000" autoRev="1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0833E-6 3.33333E-6 L 0.04245 -0.09352 " pathEditMode="relative" rAng="0" ptsTypes="AA">
                                      <p:cBhvr>
                                        <p:cTn id="24" dur="3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56" presetClass="path" presetSubtype="0" repeatCount="indefinite" accel="50000" decel="50000" autoRev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04167E-6 -1.85185E-6 L 0.04245 -0.09352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56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3.33333E-6 L 0.04245 -0.09352 " pathEditMode="relative" rAng="0" ptsTypes="AA">
                                      <p:cBhvr>
                                        <p:cTn id="28" dur="3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56" presetClass="path" presetSubtype="0" repeatCount="indefinite" accel="50000" decel="50000" autoRev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5E-6 -3.7037E-7 L 0.04245 -0.09352 " pathEditMode="relative" rAng="0" ptsTypes="AA">
                                      <p:cBhvr>
                                        <p:cTn id="30" dur="3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56" presetClass="path" presetSubtype="0" repeatCount="indefinite" accel="50000" decel="50000" autoRev="1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04167E-6 3.33333E-6 L 0.04245 -0.09352 " pathEditMode="relative" rAng="0" ptsTypes="AA">
                                      <p:cBhvr>
                                        <p:cTn id="32" dur="3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56" presetClass="path" presetSubtype="0" repeatCount="indefinite" accel="50000" decel="50000" autoRev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04167E-6 -1.85185E-6 L 0.04245 -0.09352 " pathEditMode="relative" rAng="0" ptsTypes="AA">
                                      <p:cBhvr>
                                        <p:cTn id="34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6" grpId="0" animBg="1"/>
      <p:bldP spid="27" grpId="0" animBg="1"/>
      <p:bldP spid="28" grpId="0" animBg="1"/>
      <p:bldP spid="29" grpId="0" animBg="1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46BE918B-EA92-1948-9A36-85366B984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/>
        </p:blipFill>
        <p:spPr bwMode="auto">
          <a:xfrm>
            <a:off x="-89695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CF6B2B7C-89ED-F540-A64D-0D5E18A71354}"/>
              </a:ext>
            </a:extLst>
          </p:cNvPr>
          <p:cNvSpPr/>
          <p:nvPr/>
        </p:nvSpPr>
        <p:spPr>
          <a:xfrm>
            <a:off x="-1450258" y="-4117255"/>
            <a:ext cx="15092516" cy="15092510"/>
          </a:xfrm>
          <a:prstGeom prst="ellipse">
            <a:avLst/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LT" sz="8000" b="1" spc="-150">
              <a:latin typeface="Raleway" panose="020B0503030101060003" pitchFamily="34" charset="77"/>
            </a:endParaRPr>
          </a:p>
        </p:txBody>
      </p:sp>
      <p:sp useBgFill="1">
        <p:nvSpPr>
          <p:cNvPr id="29" name="Rounded Rectangle 28">
            <a:extLst>
              <a:ext uri="{FF2B5EF4-FFF2-40B4-BE49-F238E27FC236}">
                <a16:creationId xmlns:a16="http://schemas.microsoft.com/office/drawing/2014/main" id="{14E00701-098F-CD4F-A308-C7B7ECDFF684}"/>
              </a:ext>
            </a:extLst>
          </p:cNvPr>
          <p:cNvSpPr/>
          <p:nvPr/>
        </p:nvSpPr>
        <p:spPr>
          <a:xfrm rot="2314562">
            <a:off x="9520394" y="6376453"/>
            <a:ext cx="642321" cy="4019894"/>
          </a:xfrm>
          <a:prstGeom prst="roundRect">
            <a:avLst>
              <a:gd name="adj" fmla="val 50000"/>
            </a:avLst>
          </a:prstGeom>
          <a:ln w="762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T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948FDC-CAE4-22AA-0ACD-5EACB36777AE}"/>
              </a:ext>
            </a:extLst>
          </p:cNvPr>
          <p:cNvSpPr/>
          <p:nvPr/>
        </p:nvSpPr>
        <p:spPr>
          <a:xfrm>
            <a:off x="4407953" y="3013501"/>
            <a:ext cx="319670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o-RO" sz="4800" b="1" spc="-150" dirty="0">
                <a:solidFill>
                  <a:schemeClr val="bg1"/>
                </a:solidFill>
                <a:effectLst>
                  <a:outerShdw blurRad="419100" sx="102000" sy="102000" algn="ctr" rotWithShape="0">
                    <a:prstClr val="black">
                      <a:alpha val="29000"/>
                    </a:prstClr>
                  </a:outerShdw>
                </a:effectLst>
                <a:latin typeface="Raleway Black" panose="020B0503030101060003" pitchFamily="34" charset="77"/>
              </a:rPr>
              <a:t>Mai exact..</a:t>
            </a:r>
            <a:endParaRPr lang="en-LT" sz="7200" b="1" spc="-150" dirty="0">
              <a:solidFill>
                <a:schemeClr val="bg1"/>
              </a:solidFill>
              <a:effectLst>
                <a:outerShdw blurRad="419100" sx="102000" sy="102000" algn="ctr" rotWithShape="0">
                  <a:prstClr val="black">
                    <a:alpha val="29000"/>
                  </a:prstClr>
                </a:outerShdw>
              </a:effectLst>
              <a:latin typeface="Raleway Black" panose="020B05030301010600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8896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path" presetSubtype="0" repeatCount="indefinite" accel="50000" decel="50000" autoRev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04167E-6 -1.85185E-6 L 0.04245 -0.09352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" y="-4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0" r="30"/>
          <a:stretch/>
        </p:blipFill>
        <p:spPr>
          <a:xfrm>
            <a:off x="4562787" y="2223722"/>
            <a:ext cx="3066424" cy="3069771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49" b="149"/>
          <a:stretch/>
        </p:blipFill>
        <p:spPr>
          <a:xfrm>
            <a:off x="2142844" y="2223722"/>
            <a:ext cx="2235201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4" b="84"/>
          <a:stretch/>
        </p:blipFill>
        <p:spPr>
          <a:xfrm>
            <a:off x="7813953" y="2223722"/>
            <a:ext cx="2235202" cy="223145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266" b="266"/>
          <a:stretch/>
        </p:blipFill>
        <p:spPr>
          <a:xfrm>
            <a:off x="137219" y="2223722"/>
            <a:ext cx="1820883" cy="1814287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6" r="26"/>
          <a:stretch/>
        </p:blipFill>
        <p:spPr>
          <a:xfrm>
            <a:off x="10233898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4944980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/>
              <a:t>PROJECT MANAGER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7845104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35876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19738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32523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W DESIGN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343729" y="5441819"/>
            <a:ext cx="350455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b="1" dirty="0"/>
              <a:t>Efrem Dragoș-Sebastian-Mihaly</a:t>
            </a:r>
            <a:endParaRPr lang="de-DE" altLang="de-DE" b="1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9" r="9"/>
          <a:stretch/>
        </p:blipFill>
        <p:spPr>
          <a:xfrm>
            <a:off x="15050034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84" b="84"/>
          <a:stretch/>
        </p:blipFill>
        <p:spPr>
          <a:xfrm>
            <a:off x="-4863660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81" b="181"/>
          <a:stretch/>
        </p:blipFill>
        <p:spPr>
          <a:xfrm>
            <a:off x="12525864" y="2223722"/>
            <a:ext cx="1820883" cy="1814287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" r="6"/>
          <a:stretch/>
        </p:blipFill>
        <p:spPr>
          <a:xfrm>
            <a:off x="-233949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45A944B-750A-43AE-A5D3-4CD4199BCA01}"/>
              </a:ext>
            </a:extLst>
          </p:cNvPr>
          <p:cNvSpPr txBox="1"/>
          <p:nvPr/>
        </p:nvSpPr>
        <p:spPr>
          <a:xfrm>
            <a:off x="-2137512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9FC1B3-9CB2-4DE2-962F-1347A5CE3270}"/>
              </a:ext>
            </a:extLst>
          </p:cNvPr>
          <p:cNvSpPr txBox="1"/>
          <p:nvPr/>
        </p:nvSpPr>
        <p:spPr>
          <a:xfrm>
            <a:off x="-4686208" y="1564429"/>
            <a:ext cx="14659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4F97D6-390F-4425-ACBD-91B92D5EBDF8}"/>
              </a:ext>
            </a:extLst>
          </p:cNvPr>
          <p:cNvSpPr txBox="1"/>
          <p:nvPr/>
        </p:nvSpPr>
        <p:spPr>
          <a:xfrm>
            <a:off x="1272784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2811F9-C8E0-4B49-81F8-EF83D0F4C578}"/>
              </a:ext>
            </a:extLst>
          </p:cNvPr>
          <p:cNvSpPr txBox="1"/>
          <p:nvPr/>
        </p:nvSpPr>
        <p:spPr>
          <a:xfrm>
            <a:off x="1525201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49" b="149"/>
          <a:stretch/>
        </p:blipFill>
        <p:spPr>
          <a:xfrm>
            <a:off x="4562787" y="2223722"/>
            <a:ext cx="3074930" cy="306977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66" b="266"/>
          <a:stretch/>
        </p:blipFill>
        <p:spPr>
          <a:xfrm>
            <a:off x="2142843" y="2223722"/>
            <a:ext cx="2239563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33" r="133"/>
          <a:stretch/>
        </p:blipFill>
        <p:spPr>
          <a:xfrm>
            <a:off x="137218" y="2223722"/>
            <a:ext cx="182088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30" r="30"/>
          <a:stretch/>
        </p:blipFill>
        <p:spPr>
          <a:xfrm>
            <a:off x="7822460" y="2223723"/>
            <a:ext cx="222901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84" b="84"/>
          <a:stretch/>
        </p:blipFill>
        <p:spPr>
          <a:xfrm>
            <a:off x="10237705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29" b="29"/>
          <a:stretch/>
        </p:blipFill>
        <p:spPr>
          <a:xfrm>
            <a:off x="12651465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68075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HW 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7780537" y="1564429"/>
            <a:ext cx="230204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ROJECT MANAG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172504" y="1564429"/>
            <a:ext cx="194367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TESTING QA+U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39198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32523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W DESIG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140197" y="5441819"/>
            <a:ext cx="391160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Gostian Loredan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DBAE0-B30D-426D-98DC-B5C20F488911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9" r="9"/>
          <a:stretch/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84" b="84"/>
          <a:stretch/>
        </p:blipFill>
        <p:spPr>
          <a:xfrm>
            <a:off x="-2073217" y="2223722"/>
            <a:ext cx="1820883" cy="1817826"/>
          </a:xfrm>
          <a:prstGeom prst="ellipse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181" b="181"/>
          <a:stretch/>
        </p:blipFill>
        <p:spPr>
          <a:xfrm>
            <a:off x="14943431" y="2223722"/>
            <a:ext cx="1820883" cy="1814287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C60FF7-E22A-4382-B3B4-E1CE88AE15D7}"/>
              </a:ext>
            </a:extLst>
          </p:cNvPr>
          <p:cNvSpPr txBox="1"/>
          <p:nvPr/>
        </p:nvSpPr>
        <p:spPr>
          <a:xfrm>
            <a:off x="-1871238" y="1564429"/>
            <a:ext cx="1416926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2727842" y="1564429"/>
            <a:ext cx="1416926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5252013" y="1564429"/>
            <a:ext cx="1416926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352017-B16F-4C36-816A-E37B5F145342}"/>
              </a:ext>
            </a:extLst>
          </p:cNvPr>
          <p:cNvSpPr txBox="1"/>
          <p:nvPr/>
        </p:nvSpPr>
        <p:spPr>
          <a:xfrm>
            <a:off x="17669579" y="1564429"/>
            <a:ext cx="1416926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66" b="266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33" r="133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84" b="84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49" b="149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0" r="30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84" b="84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9" b="29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68075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HW 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03631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W DESIGN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9993321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39199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5198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dirty="0"/>
              <a:t>B</a:t>
            </a:r>
            <a:r>
              <a:rPr lang="ro-RO" altLang="de-DE" dirty="0" err="1"/>
              <a:t>ărbosu</a:t>
            </a:r>
            <a:r>
              <a:rPr lang="ro-RO" altLang="de-DE" dirty="0"/>
              <a:t> Bianca</a:t>
            </a:r>
            <a:endParaRPr lang="de-DE" alt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1" b="181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5081667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	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605838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411336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96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33" r="133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81" b="181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3" r="123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69" b="169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10" b="10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08" b="108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181" b="181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87535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/>
              <a:t>DEVELOPER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03630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W DESIGN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16416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339200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5198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o-RO" altLang="de-DE" dirty="0"/>
              <a:t>Gabor Sebastian</a:t>
            </a:r>
            <a:endParaRPr lang="de-DE" alt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29" b="29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4703681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605838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DEVELOP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346766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73623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81" b="181"/>
          <a:stretch/>
        </p:blipFill>
        <p:spPr>
          <a:xfrm>
            <a:off x="4558088" y="2223722"/>
            <a:ext cx="3080931" cy="306977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6" r="26"/>
          <a:stretch/>
        </p:blipFill>
        <p:spPr>
          <a:xfrm>
            <a:off x="2138481" y="2223722"/>
            <a:ext cx="2239563" cy="223145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84" b="84"/>
          <a:stretch/>
        </p:blipFill>
        <p:spPr>
          <a:xfrm>
            <a:off x="137217" y="2223722"/>
            <a:ext cx="1820883" cy="181782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30" r="230"/>
          <a:stretch/>
        </p:blipFill>
        <p:spPr>
          <a:xfrm>
            <a:off x="7819063" y="2223722"/>
            <a:ext cx="2235201" cy="2231450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t="31" b="31"/>
          <a:stretch/>
        </p:blipFill>
        <p:spPr>
          <a:xfrm>
            <a:off x="10231179" y="2223723"/>
            <a:ext cx="1820883" cy="1822871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49" b="149"/>
          <a:stretch/>
        </p:blipFill>
        <p:spPr>
          <a:xfrm>
            <a:off x="12591530" y="2223722"/>
            <a:ext cx="1820883" cy="1817826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05" b="205"/>
          <a:stretch/>
        </p:blipFill>
        <p:spPr>
          <a:xfrm>
            <a:off x="15005290" y="2223722"/>
            <a:ext cx="1820883" cy="1814287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87535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/>
              <a:t>DEVELOPER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223092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416416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-38786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551983" y="1564429"/>
            <a:ext cx="141692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DEVELOP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8C9B5-ABA4-4234-AB60-76C647A098EE}"/>
              </a:ext>
            </a:extLst>
          </p:cNvPr>
          <p:cNvSpPr txBox="1"/>
          <p:nvPr/>
        </p:nvSpPr>
        <p:spPr>
          <a:xfrm>
            <a:off x="4274506" y="5441819"/>
            <a:ext cx="3642985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o-RO" altLang="de-DE" dirty="0"/>
              <a:t>Farcaș Adrian-Tiberiu</a:t>
            </a:r>
            <a:endParaRPr lang="de-DE" alt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5E58F-764B-41E9-B2BA-D2E48A412F6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81" b="181"/>
          <a:stretch/>
        </p:blipFill>
        <p:spPr>
          <a:xfrm>
            <a:off x="17297256" y="2223722"/>
            <a:ext cx="1820883" cy="1814287"/>
          </a:xfrm>
          <a:prstGeom prst="ellipse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D216F81-8C1D-44D6-B3B4-365DE8E7C627}"/>
              </a:ext>
            </a:extLst>
          </p:cNvPr>
          <p:cNvSpPr txBox="1"/>
          <p:nvPr/>
        </p:nvSpPr>
        <p:spPr>
          <a:xfrm>
            <a:off x="14639112" y="1564429"/>
            <a:ext cx="23020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PROJECT MANAG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0785FF-7902-43F9-A347-ED88337D590D}"/>
              </a:ext>
            </a:extLst>
          </p:cNvPr>
          <p:cNvSpPr txBox="1"/>
          <p:nvPr/>
        </p:nvSpPr>
        <p:spPr>
          <a:xfrm>
            <a:off x="17227851" y="1564429"/>
            <a:ext cx="21729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TESTING &amp; QA+UX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BDE69D-DFB6-48BB-8ACC-6287EE374207}"/>
              </a:ext>
            </a:extLst>
          </p:cNvPr>
          <p:cNvSpPr txBox="1"/>
          <p:nvPr/>
        </p:nvSpPr>
        <p:spPr>
          <a:xfrm>
            <a:off x="12769860" y="1564429"/>
            <a:ext cx="145584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ro-RO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W DESIGN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858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55000"/>
          </a:schemeClr>
        </a:solidFill>
        <a:ln w="76200">
          <a:solidFill>
            <a:schemeClr val="bg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3</TotalTime>
  <Words>251</Words>
  <Application>Microsoft Office PowerPoint</Application>
  <PresentationFormat>Widescreen</PresentationFormat>
  <Paragraphs>91</Paragraphs>
  <Slides>1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Montserrat</vt:lpstr>
      <vt:lpstr>Raleway</vt:lpstr>
      <vt:lpstr>Raleway Black</vt:lpstr>
      <vt:lpstr>Segoe UI Black</vt:lpstr>
      <vt:lpstr>Segoe UI Semibold</vt:lpstr>
      <vt:lpstr>Office Theme</vt:lpstr>
      <vt:lpstr>Level up! PowerPoi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ne Skill</dc:creator>
  <cp:lastModifiedBy>Dragoș-Sebastian-Mihaly Efrem</cp:lastModifiedBy>
  <cp:revision>17</cp:revision>
  <dcterms:created xsi:type="dcterms:W3CDTF">2020-12-19T18:59:10Z</dcterms:created>
  <dcterms:modified xsi:type="dcterms:W3CDTF">2022-11-05T15:5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568330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9.2.0</vt:lpwstr>
  </property>
</Properties>
</file>